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handoutMasterIdLst>
    <p:handoutMasterId r:id="rId5"/>
  </p:handoutMasterIdLst>
  <p:sldIdLst>
    <p:sldId id="261" r:id="rId2"/>
    <p:sldId id="262" r:id="rId3"/>
    <p:sldId id="263" r:id="rId4"/>
  </p:sldIdLst>
  <p:sldSz cx="9144000" cy="6858000" type="screen4x3"/>
  <p:notesSz cx="6858000" cy="9144000"/>
  <p:custDataLst>
    <p:tags r:id="rId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2922E"/>
    <a:srgbClr val="1954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5620"/>
    <p:restoredTop sz="94660"/>
  </p:normalViewPr>
  <p:slideViewPr>
    <p:cSldViewPr snapToGrid="0" showGuides="1">
      <p:cViewPr varScale="1">
        <p:scale>
          <a:sx n="112" d="100"/>
          <a:sy n="112" d="100"/>
        </p:scale>
        <p:origin x="-1632" y="-84"/>
      </p:cViewPr>
      <p:guideLst>
        <p:guide orient="horz" pos="1296"/>
        <p:guide orient="horz" pos="629"/>
        <p:guide orient="horz" pos="997"/>
        <p:guide orient="horz"/>
        <p:guide orient="horz" pos="217"/>
        <p:guide orient="horz" pos="3681"/>
        <p:guide orient="horz" pos="4054"/>
        <p:guide pos="631"/>
        <p:guide pos="1020"/>
        <p:guide pos="5389"/>
        <p:guide pos="3120"/>
        <p:guide pos="219"/>
        <p:guide pos="3292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-3174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79D065-03A5-4C09-9A36-A973175AAF75}" type="datetimeFigureOut">
              <a:rPr lang="en-GB" smtClean="0"/>
              <a:pPr/>
              <a:t>23/02/2016</a:t>
            </a:fld>
            <a:endParaRPr lang="en-GB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F99DCF-A131-4957-829E-DFB5C8C3EC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54865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15106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textruta 5"/>
          <p:cNvSpPr txBox="1"/>
          <p:nvPr userDrawn="1"/>
        </p:nvSpPr>
        <p:spPr>
          <a:xfrm>
            <a:off x="7103422" y="263482"/>
            <a:ext cx="177965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100" b="1" dirty="0" smtClean="0"/>
              <a:t>KTH ROYAL INSTITUTE</a:t>
            </a:r>
            <a:br>
              <a:rPr lang="sv-SE" sz="1100" b="1" dirty="0" smtClean="0"/>
            </a:br>
            <a:r>
              <a:rPr lang="sv-SE" sz="1100" b="1" dirty="0" smtClean="0"/>
              <a:t>OF</a:t>
            </a:r>
            <a:r>
              <a:rPr lang="sv-SE" sz="1100" b="1" baseline="0" dirty="0" smtClean="0"/>
              <a:t> TECHNOLOGY</a:t>
            </a:r>
            <a:endParaRPr lang="sv-SE" sz="1100" b="1" dirty="0"/>
          </a:p>
        </p:txBody>
      </p:sp>
    </p:spTree>
    <p:extLst>
      <p:ext uri="{BB962C8B-B14F-4D97-AF65-F5344CB8AC3E}">
        <p14:creationId xmlns:p14="http://schemas.microsoft.com/office/powerpoint/2010/main" val="3404802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CFCB38AA-14D0-4B67-BE5B-608C5A8A7489}" type="datetimeFigureOut">
              <a:rPr lang="sv-SE" smtClean="0"/>
              <a:pPr/>
              <a:t>2016-02-23</a:t>
            </a:fld>
            <a:endParaRPr lang="sv-SE"/>
          </a:p>
        </p:txBody>
      </p:sp>
      <p:sp>
        <p:nvSpPr>
          <p:cNvPr id="14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1199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6334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6-02-23</a:t>
            </a:fld>
            <a:endParaRPr lang="sv-SE"/>
          </a:p>
        </p:txBody>
      </p:sp>
      <p:sp>
        <p:nvSpPr>
          <p:cNvPr id="9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82663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6-02-23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34203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Platshållare för diagram 7"/>
          <p:cNvSpPr>
            <a:spLocks noGrp="1"/>
          </p:cNvSpPr>
          <p:nvPr>
            <p:ph type="chart" sz="quarter" idx="13"/>
          </p:nvPr>
        </p:nvSpPr>
        <p:spPr>
          <a:xfrm>
            <a:off x="5226050" y="1582740"/>
            <a:ext cx="3328988" cy="4078286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9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6-02-23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11495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619250" y="1582739"/>
            <a:ext cx="3328988" cy="4078286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0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6-02-23</a:t>
            </a:fld>
            <a:endParaRPr lang="sv-SE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073696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-10639" y="1582739"/>
            <a:ext cx="9208426" cy="4713858"/>
          </a:xfrm>
          <a:custGeom>
            <a:avLst/>
            <a:gdLst>
              <a:gd name="connsiteX0" fmla="*/ 708568 w 9144000"/>
              <a:gd name="connsiteY0" fmla="*/ 0 h 4251325"/>
              <a:gd name="connsiteX1" fmla="*/ 9144000 w 9144000"/>
              <a:gd name="connsiteY1" fmla="*/ 0 h 4251325"/>
              <a:gd name="connsiteX2" fmla="*/ 9144000 w 9144000"/>
              <a:gd name="connsiteY2" fmla="*/ 0 h 4251325"/>
              <a:gd name="connsiteX3" fmla="*/ 9144000 w 9144000"/>
              <a:gd name="connsiteY3" fmla="*/ 3542757 h 4251325"/>
              <a:gd name="connsiteX4" fmla="*/ 8435432 w 9144000"/>
              <a:gd name="connsiteY4" fmla="*/ 4251325 h 4251325"/>
              <a:gd name="connsiteX5" fmla="*/ 0 w 9144000"/>
              <a:gd name="connsiteY5" fmla="*/ 4251325 h 4251325"/>
              <a:gd name="connsiteX6" fmla="*/ 0 w 9144000"/>
              <a:gd name="connsiteY6" fmla="*/ 4251325 h 4251325"/>
              <a:gd name="connsiteX7" fmla="*/ 0 w 9144000"/>
              <a:gd name="connsiteY7" fmla="*/ 708568 h 4251325"/>
              <a:gd name="connsiteX8" fmla="*/ 708568 w 9144000"/>
              <a:gd name="connsiteY8" fmla="*/ 0 h 4251325"/>
              <a:gd name="connsiteX0" fmla="*/ 180030 w 9301262"/>
              <a:gd name="connsiteY0" fmla="*/ 0 h 4260850"/>
              <a:gd name="connsiteX1" fmla="*/ 9301262 w 9301262"/>
              <a:gd name="connsiteY1" fmla="*/ 9525 h 4260850"/>
              <a:gd name="connsiteX2" fmla="*/ 9301262 w 9301262"/>
              <a:gd name="connsiteY2" fmla="*/ 9525 h 4260850"/>
              <a:gd name="connsiteX3" fmla="*/ 9301262 w 9301262"/>
              <a:gd name="connsiteY3" fmla="*/ 3552282 h 4260850"/>
              <a:gd name="connsiteX4" fmla="*/ 8592694 w 9301262"/>
              <a:gd name="connsiteY4" fmla="*/ 4260850 h 4260850"/>
              <a:gd name="connsiteX5" fmla="*/ 157262 w 9301262"/>
              <a:gd name="connsiteY5" fmla="*/ 4260850 h 4260850"/>
              <a:gd name="connsiteX6" fmla="*/ 157262 w 9301262"/>
              <a:gd name="connsiteY6" fmla="*/ 4260850 h 4260850"/>
              <a:gd name="connsiteX7" fmla="*/ 157262 w 9301262"/>
              <a:gd name="connsiteY7" fmla="*/ 718093 h 4260850"/>
              <a:gd name="connsiteX8" fmla="*/ 180030 w 9301262"/>
              <a:gd name="connsiteY8" fmla="*/ 0 h 4260850"/>
              <a:gd name="connsiteX0" fmla="*/ 23406 w 9144638"/>
              <a:gd name="connsiteY0" fmla="*/ 0 h 4260850"/>
              <a:gd name="connsiteX1" fmla="*/ 9144638 w 9144638"/>
              <a:gd name="connsiteY1" fmla="*/ 9525 h 4260850"/>
              <a:gd name="connsiteX2" fmla="*/ 9144638 w 9144638"/>
              <a:gd name="connsiteY2" fmla="*/ 9525 h 4260850"/>
              <a:gd name="connsiteX3" fmla="*/ 9144638 w 9144638"/>
              <a:gd name="connsiteY3" fmla="*/ 3552282 h 4260850"/>
              <a:gd name="connsiteX4" fmla="*/ 8436070 w 9144638"/>
              <a:gd name="connsiteY4" fmla="*/ 4260850 h 4260850"/>
              <a:gd name="connsiteX5" fmla="*/ 638 w 9144638"/>
              <a:gd name="connsiteY5" fmla="*/ 4260850 h 4260850"/>
              <a:gd name="connsiteX6" fmla="*/ 638 w 9144638"/>
              <a:gd name="connsiteY6" fmla="*/ 4260850 h 4260850"/>
              <a:gd name="connsiteX7" fmla="*/ 638 w 9144638"/>
              <a:gd name="connsiteY7" fmla="*/ 718093 h 4260850"/>
              <a:gd name="connsiteX8" fmla="*/ 23406 w 9144638"/>
              <a:gd name="connsiteY8" fmla="*/ 0 h 4260850"/>
              <a:gd name="connsiteX0" fmla="*/ 11705 w 9161512"/>
              <a:gd name="connsiteY0" fmla="*/ 9525 h 4251325"/>
              <a:gd name="connsiteX1" fmla="*/ 9161512 w 9161512"/>
              <a:gd name="connsiteY1" fmla="*/ 0 h 4251325"/>
              <a:gd name="connsiteX2" fmla="*/ 9161512 w 9161512"/>
              <a:gd name="connsiteY2" fmla="*/ 0 h 4251325"/>
              <a:gd name="connsiteX3" fmla="*/ 9161512 w 9161512"/>
              <a:gd name="connsiteY3" fmla="*/ 3542757 h 4251325"/>
              <a:gd name="connsiteX4" fmla="*/ 8452944 w 9161512"/>
              <a:gd name="connsiteY4" fmla="*/ 4251325 h 4251325"/>
              <a:gd name="connsiteX5" fmla="*/ 17512 w 9161512"/>
              <a:gd name="connsiteY5" fmla="*/ 4251325 h 4251325"/>
              <a:gd name="connsiteX6" fmla="*/ 17512 w 9161512"/>
              <a:gd name="connsiteY6" fmla="*/ 4251325 h 4251325"/>
              <a:gd name="connsiteX7" fmla="*/ 17512 w 9161512"/>
              <a:gd name="connsiteY7" fmla="*/ 708568 h 4251325"/>
              <a:gd name="connsiteX8" fmla="*/ 11705 w 9161512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8441308 w 9149876"/>
              <a:gd name="connsiteY4" fmla="*/ 42513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1316608 w 9149876"/>
              <a:gd name="connsiteY4" fmla="*/ 39465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542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23432 w 9156700"/>
              <a:gd name="connsiteY4" fmla="*/ 39465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0 w 9156700"/>
              <a:gd name="connsiteY6" fmla="*/ 4270375 h 4270375"/>
              <a:gd name="connsiteX7" fmla="*/ 12700 w 9156700"/>
              <a:gd name="connsiteY7" fmla="*/ 708568 h 4270375"/>
              <a:gd name="connsiteX8" fmla="*/ 6893 w 9156700"/>
              <a:gd name="connsiteY8" fmla="*/ 9525 h 427037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084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211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57675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13243 w 9163050"/>
              <a:gd name="connsiteY0" fmla="*/ 9525 h 4295946"/>
              <a:gd name="connsiteX1" fmla="*/ 9163050 w 9163050"/>
              <a:gd name="connsiteY1" fmla="*/ 0 h 4295946"/>
              <a:gd name="connsiteX2" fmla="*/ 9163050 w 9163050"/>
              <a:gd name="connsiteY2" fmla="*/ 0 h 4295946"/>
              <a:gd name="connsiteX3" fmla="*/ 9163050 w 9163050"/>
              <a:gd name="connsiteY3" fmla="*/ 3923757 h 4295946"/>
              <a:gd name="connsiteX4" fmla="*/ 1348832 w 9163050"/>
              <a:gd name="connsiteY4" fmla="*/ 3921125 h 4295946"/>
              <a:gd name="connsiteX5" fmla="*/ 1209675 w 9163050"/>
              <a:gd name="connsiteY5" fmla="*/ 4283160 h 4295946"/>
              <a:gd name="connsiteX6" fmla="*/ 0 w 9163050"/>
              <a:gd name="connsiteY6" fmla="*/ 4295946 h 4295946"/>
              <a:gd name="connsiteX7" fmla="*/ 19050 w 9163050"/>
              <a:gd name="connsiteY7" fmla="*/ 708568 h 4295946"/>
              <a:gd name="connsiteX8" fmla="*/ 13243 w 9163050"/>
              <a:gd name="connsiteY8" fmla="*/ 9525 h 4295946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1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2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30693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59604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6812"/>
              <a:gd name="connsiteX1" fmla="*/ 9156700 w 9156700"/>
              <a:gd name="connsiteY1" fmla="*/ 0 h 4276812"/>
              <a:gd name="connsiteX2" fmla="*/ 9156700 w 9156700"/>
              <a:gd name="connsiteY2" fmla="*/ 0 h 4276812"/>
              <a:gd name="connsiteX3" fmla="*/ 9156700 w 9156700"/>
              <a:gd name="connsiteY3" fmla="*/ 3923757 h 4276812"/>
              <a:gd name="connsiteX4" fmla="*/ 1342482 w 9156700"/>
              <a:gd name="connsiteY4" fmla="*/ 3959604 h 4276812"/>
              <a:gd name="connsiteX5" fmla="*/ 1203325 w 9156700"/>
              <a:gd name="connsiteY5" fmla="*/ 4267882 h 4276812"/>
              <a:gd name="connsiteX6" fmla="*/ 0 w 9156700"/>
              <a:gd name="connsiteY6" fmla="*/ 4276812 h 4276812"/>
              <a:gd name="connsiteX7" fmla="*/ 12700 w 9156700"/>
              <a:gd name="connsiteY7" fmla="*/ 708568 h 4276812"/>
              <a:gd name="connsiteX8" fmla="*/ 6893 w 9156700"/>
              <a:gd name="connsiteY8" fmla="*/ 9525 h 427681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69276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54641"/>
              <a:gd name="connsiteY0" fmla="*/ 9525 h 4267882"/>
              <a:gd name="connsiteX1" fmla="*/ 9149876 w 9154641"/>
              <a:gd name="connsiteY1" fmla="*/ 0 h 4267882"/>
              <a:gd name="connsiteX2" fmla="*/ 9149876 w 9154641"/>
              <a:gd name="connsiteY2" fmla="*/ 0 h 4267882"/>
              <a:gd name="connsiteX3" fmla="*/ 9154641 w 9154641"/>
              <a:gd name="connsiteY3" fmla="*/ 3952802 h 4267882"/>
              <a:gd name="connsiteX4" fmla="*/ 1338039 w 9154641"/>
              <a:gd name="connsiteY4" fmla="*/ 3954857 h 4267882"/>
              <a:gd name="connsiteX5" fmla="*/ 1196501 w 9154641"/>
              <a:gd name="connsiteY5" fmla="*/ 4267882 h 4267882"/>
              <a:gd name="connsiteX6" fmla="*/ 2701 w 9154641"/>
              <a:gd name="connsiteY6" fmla="*/ 4264722 h 4267882"/>
              <a:gd name="connsiteX7" fmla="*/ 5876 w 9154641"/>
              <a:gd name="connsiteY7" fmla="*/ 708568 h 4267882"/>
              <a:gd name="connsiteX8" fmla="*/ 69 w 9154641"/>
              <a:gd name="connsiteY8" fmla="*/ 9525 h 4267882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9702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174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0600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7847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19844 w 9150032"/>
              <a:gd name="connsiteY4" fmla="*/ 3967847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5 w 9150032"/>
              <a:gd name="connsiteY4" fmla="*/ 3960599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3115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3115 w 9150032"/>
              <a:gd name="connsiteY5" fmla="*/ 4275168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4831"/>
              <a:gd name="connsiteX1" fmla="*/ 9149876 w 9150032"/>
              <a:gd name="connsiteY1" fmla="*/ 9702 h 4284831"/>
              <a:gd name="connsiteX2" fmla="*/ 9149876 w 9150032"/>
              <a:gd name="connsiteY2" fmla="*/ 89 h 4284831"/>
              <a:gd name="connsiteX3" fmla="*/ 9141983 w 9150032"/>
              <a:gd name="connsiteY3" fmla="*/ 3960138 h 4284831"/>
              <a:gd name="connsiteX4" fmla="*/ 1326965 w 9150032"/>
              <a:gd name="connsiteY4" fmla="*/ 3960599 h 4284831"/>
              <a:gd name="connsiteX5" fmla="*/ 1210742 w 9150032"/>
              <a:gd name="connsiteY5" fmla="*/ 4284831 h 4284831"/>
              <a:gd name="connsiteX6" fmla="*/ 2701 w 9150032"/>
              <a:gd name="connsiteY6" fmla="*/ 4279257 h 4284831"/>
              <a:gd name="connsiteX7" fmla="*/ 5876 w 9150032"/>
              <a:gd name="connsiteY7" fmla="*/ 718270 h 4284831"/>
              <a:gd name="connsiteX8" fmla="*/ 69 w 9150032"/>
              <a:gd name="connsiteY8" fmla="*/ 0 h 4284831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4089"/>
              <a:gd name="connsiteX1" fmla="*/ 9149876 w 9150032"/>
              <a:gd name="connsiteY1" fmla="*/ 9702 h 4284089"/>
              <a:gd name="connsiteX2" fmla="*/ 9149876 w 9150032"/>
              <a:gd name="connsiteY2" fmla="*/ 89 h 4284089"/>
              <a:gd name="connsiteX3" fmla="*/ 9141983 w 9150032"/>
              <a:gd name="connsiteY3" fmla="*/ 3960138 h 4284089"/>
              <a:gd name="connsiteX4" fmla="*/ 1326965 w 9150032"/>
              <a:gd name="connsiteY4" fmla="*/ 3960599 h 4284089"/>
              <a:gd name="connsiteX5" fmla="*/ 1213116 w 9150032"/>
              <a:gd name="connsiteY5" fmla="*/ 4282416 h 4284089"/>
              <a:gd name="connsiteX6" fmla="*/ 2701 w 9150032"/>
              <a:gd name="connsiteY6" fmla="*/ 4284089 h 4284089"/>
              <a:gd name="connsiteX7" fmla="*/ 5876 w 9150032"/>
              <a:gd name="connsiteY7" fmla="*/ 718270 h 4284089"/>
              <a:gd name="connsiteX8" fmla="*/ 69 w 9150032"/>
              <a:gd name="connsiteY8" fmla="*/ 0 h 4284089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5075 w 9150032"/>
              <a:gd name="connsiteY6" fmla="*/ 4281672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5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2219 w 9150032"/>
              <a:gd name="connsiteY4" fmla="*/ 3970263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7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31714 w 9150006"/>
              <a:gd name="connsiteY4" fmla="*/ 3963015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17134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07470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5733 w 9150006"/>
              <a:gd name="connsiteY5" fmla="*/ 4005054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3360 w 9150006"/>
              <a:gd name="connsiteY5" fmla="*/ 4002638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213854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196100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65541"/>
              <a:gd name="connsiteX1" fmla="*/ 9150613 w 9152201"/>
              <a:gd name="connsiteY1" fmla="*/ 9702 h 4265541"/>
              <a:gd name="connsiteX2" fmla="*/ 9150613 w 9152201"/>
              <a:gd name="connsiteY2" fmla="*/ 89 h 4265541"/>
              <a:gd name="connsiteX3" fmla="*/ 9140347 w 9152201"/>
              <a:gd name="connsiteY3" fmla="*/ 3967387 h 4265541"/>
              <a:gd name="connsiteX4" fmla="*/ 1344317 w 9152201"/>
              <a:gd name="connsiteY4" fmla="*/ 3963016 h 4265541"/>
              <a:gd name="connsiteX5" fmla="*/ 1269350 w 9152201"/>
              <a:gd name="connsiteY5" fmla="*/ 4009885 h 4265541"/>
              <a:gd name="connsiteX6" fmla="*/ 1262230 w 9152201"/>
              <a:gd name="connsiteY6" fmla="*/ 4220084 h 4265541"/>
              <a:gd name="connsiteX7" fmla="*/ 1196100 w 9152201"/>
              <a:gd name="connsiteY7" fmla="*/ 4258492 h 4265541"/>
              <a:gd name="connsiteX8" fmla="*/ 4376 w 9152201"/>
              <a:gd name="connsiteY8" fmla="*/ 4265541 h 4265541"/>
              <a:gd name="connsiteX9" fmla="*/ 6613 w 9152201"/>
              <a:gd name="connsiteY9" fmla="*/ 718270 h 4265541"/>
              <a:gd name="connsiteX10" fmla="*/ 806 w 9152201"/>
              <a:gd name="connsiteY10" fmla="*/ 0 h 4265541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75580"/>
              <a:gd name="connsiteX1" fmla="*/ 9150613 w 9152201"/>
              <a:gd name="connsiteY1" fmla="*/ 9702 h 4275580"/>
              <a:gd name="connsiteX2" fmla="*/ 9150613 w 9152201"/>
              <a:gd name="connsiteY2" fmla="*/ 89 h 4275580"/>
              <a:gd name="connsiteX3" fmla="*/ 9140347 w 9152201"/>
              <a:gd name="connsiteY3" fmla="*/ 3967387 h 4275580"/>
              <a:gd name="connsiteX4" fmla="*/ 1344317 w 9152201"/>
              <a:gd name="connsiteY4" fmla="*/ 3963016 h 4275580"/>
              <a:gd name="connsiteX5" fmla="*/ 1269350 w 9152201"/>
              <a:gd name="connsiteY5" fmla="*/ 4009885 h 4275580"/>
              <a:gd name="connsiteX6" fmla="*/ 1262230 w 9152201"/>
              <a:gd name="connsiteY6" fmla="*/ 4220084 h 4275580"/>
              <a:gd name="connsiteX7" fmla="*/ 1173736 w 9152201"/>
              <a:gd name="connsiteY7" fmla="*/ 4268653 h 4275580"/>
              <a:gd name="connsiteX8" fmla="*/ 4376 w 9152201"/>
              <a:gd name="connsiteY8" fmla="*/ 4265541 h 4275580"/>
              <a:gd name="connsiteX9" fmla="*/ 6613 w 9152201"/>
              <a:gd name="connsiteY9" fmla="*/ 718270 h 4275580"/>
              <a:gd name="connsiteX10" fmla="*/ 806 w 9152201"/>
              <a:gd name="connsiteY10" fmla="*/ 0 h 4275580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90821"/>
              <a:gd name="connsiteX1" fmla="*/ 9150613 w 9152201"/>
              <a:gd name="connsiteY1" fmla="*/ 9702 h 4290821"/>
              <a:gd name="connsiteX2" fmla="*/ 9150613 w 9152201"/>
              <a:gd name="connsiteY2" fmla="*/ 89 h 4290821"/>
              <a:gd name="connsiteX3" fmla="*/ 9140347 w 9152201"/>
              <a:gd name="connsiteY3" fmla="*/ 3967387 h 4290821"/>
              <a:gd name="connsiteX4" fmla="*/ 1344317 w 9152201"/>
              <a:gd name="connsiteY4" fmla="*/ 3963016 h 4290821"/>
              <a:gd name="connsiteX5" fmla="*/ 1269350 w 9152201"/>
              <a:gd name="connsiteY5" fmla="*/ 4009885 h 4290821"/>
              <a:gd name="connsiteX6" fmla="*/ 1262230 w 9152201"/>
              <a:gd name="connsiteY6" fmla="*/ 4220084 h 4290821"/>
              <a:gd name="connsiteX7" fmla="*/ 1173736 w 9152201"/>
              <a:gd name="connsiteY7" fmla="*/ 4268653 h 4290821"/>
              <a:gd name="connsiteX8" fmla="*/ 4376 w 9152201"/>
              <a:gd name="connsiteY8" fmla="*/ 4265541 h 4290821"/>
              <a:gd name="connsiteX9" fmla="*/ 6613 w 9152201"/>
              <a:gd name="connsiteY9" fmla="*/ 718270 h 4290821"/>
              <a:gd name="connsiteX10" fmla="*/ 806 w 9152201"/>
              <a:gd name="connsiteY10" fmla="*/ 0 h 4290821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4376 w 9152201"/>
              <a:gd name="connsiteY8" fmla="*/ 4265541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2201"/>
              <a:gd name="connsiteY0" fmla="*/ 0 h 4275702"/>
              <a:gd name="connsiteX1" fmla="*/ 9150613 w 9152201"/>
              <a:gd name="connsiteY1" fmla="*/ 9702 h 4275702"/>
              <a:gd name="connsiteX2" fmla="*/ 9150613 w 9152201"/>
              <a:gd name="connsiteY2" fmla="*/ 89 h 4275702"/>
              <a:gd name="connsiteX3" fmla="*/ 9140347 w 9152201"/>
              <a:gd name="connsiteY3" fmla="*/ 3967387 h 4275702"/>
              <a:gd name="connsiteX4" fmla="*/ 1344317 w 9152201"/>
              <a:gd name="connsiteY4" fmla="*/ 3963016 h 4275702"/>
              <a:gd name="connsiteX5" fmla="*/ 1269350 w 9152201"/>
              <a:gd name="connsiteY5" fmla="*/ 4009885 h 4275702"/>
              <a:gd name="connsiteX6" fmla="*/ 1262230 w 9152201"/>
              <a:gd name="connsiteY6" fmla="*/ 4220084 h 4275702"/>
              <a:gd name="connsiteX7" fmla="*/ 1173736 w 9152201"/>
              <a:gd name="connsiteY7" fmla="*/ 4268653 h 4275702"/>
              <a:gd name="connsiteX8" fmla="*/ 0 w 9152201"/>
              <a:gd name="connsiteY8" fmla="*/ 4275702 h 4275702"/>
              <a:gd name="connsiteX9" fmla="*/ 6613 w 9152201"/>
              <a:gd name="connsiteY9" fmla="*/ 718270 h 4275702"/>
              <a:gd name="connsiteX10" fmla="*/ 806 w 9152201"/>
              <a:gd name="connsiteY10" fmla="*/ 0 h 4275702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0 w 9152201"/>
              <a:gd name="connsiteY8" fmla="*/ 4265542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45123 w 9153007"/>
              <a:gd name="connsiteY4" fmla="*/ 396301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39531 w 9153007"/>
              <a:gd name="connsiteY4" fmla="*/ 3968097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1134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4881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67917"/>
              <a:gd name="connsiteY0" fmla="*/ 0 h 4276230"/>
              <a:gd name="connsiteX1" fmla="*/ 9151419 w 9167917"/>
              <a:gd name="connsiteY1" fmla="*/ 9702 h 4276230"/>
              <a:gd name="connsiteX2" fmla="*/ 9151419 w 9167917"/>
              <a:gd name="connsiteY2" fmla="*/ 89 h 4276230"/>
              <a:gd name="connsiteX3" fmla="*/ 9167917 w 9167917"/>
              <a:gd name="connsiteY3" fmla="*/ 3974881 h 4276230"/>
              <a:gd name="connsiteX4" fmla="*/ 1352489 w 9167917"/>
              <a:gd name="connsiteY4" fmla="*/ 3975946 h 4276230"/>
              <a:gd name="connsiteX5" fmla="*/ 1270156 w 9167917"/>
              <a:gd name="connsiteY5" fmla="*/ 4009885 h 4276230"/>
              <a:gd name="connsiteX6" fmla="*/ 1263036 w 9167917"/>
              <a:gd name="connsiteY6" fmla="*/ 4220084 h 4276230"/>
              <a:gd name="connsiteX7" fmla="*/ 1174542 w 9167917"/>
              <a:gd name="connsiteY7" fmla="*/ 4268653 h 4276230"/>
              <a:gd name="connsiteX8" fmla="*/ 806 w 9167917"/>
              <a:gd name="connsiteY8" fmla="*/ 4265543 h 4276230"/>
              <a:gd name="connsiteX9" fmla="*/ 7419 w 9167917"/>
              <a:gd name="connsiteY9" fmla="*/ 718270 h 4276230"/>
              <a:gd name="connsiteX10" fmla="*/ 806 w 9167917"/>
              <a:gd name="connsiteY10" fmla="*/ 0 h 4276230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6 w 9167917"/>
              <a:gd name="connsiteY8" fmla="*/ 4250555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90722 w 9257833"/>
              <a:gd name="connsiteY0" fmla="*/ 0 h 4268653"/>
              <a:gd name="connsiteX1" fmla="*/ 9241335 w 9257833"/>
              <a:gd name="connsiteY1" fmla="*/ 9702 h 4268653"/>
              <a:gd name="connsiteX2" fmla="*/ 9241335 w 9257833"/>
              <a:gd name="connsiteY2" fmla="*/ 89 h 4268653"/>
              <a:gd name="connsiteX3" fmla="*/ 9257833 w 9257833"/>
              <a:gd name="connsiteY3" fmla="*/ 3974881 h 4268653"/>
              <a:gd name="connsiteX4" fmla="*/ 1442405 w 9257833"/>
              <a:gd name="connsiteY4" fmla="*/ 3975946 h 4268653"/>
              <a:gd name="connsiteX5" fmla="*/ 1360072 w 9257833"/>
              <a:gd name="connsiteY5" fmla="*/ 4009885 h 4268653"/>
              <a:gd name="connsiteX6" fmla="*/ 1352952 w 9257833"/>
              <a:gd name="connsiteY6" fmla="*/ 4220084 h 4268653"/>
              <a:gd name="connsiteX7" fmla="*/ 1264458 w 9257833"/>
              <a:gd name="connsiteY7" fmla="*/ 4268653 h 4268653"/>
              <a:gd name="connsiteX8" fmla="*/ 0 w 9257833"/>
              <a:gd name="connsiteY8" fmla="*/ 4246809 h 4268653"/>
              <a:gd name="connsiteX9" fmla="*/ 97335 w 9257833"/>
              <a:gd name="connsiteY9" fmla="*/ 718270 h 4268653"/>
              <a:gd name="connsiteX10" fmla="*/ 90722 w 9257833"/>
              <a:gd name="connsiteY10" fmla="*/ 0 h 4268653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7 w 9167917"/>
              <a:gd name="connsiteY8" fmla="*/ 4261796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70102 w 9237213"/>
              <a:gd name="connsiteY0" fmla="*/ 0 h 4273036"/>
              <a:gd name="connsiteX1" fmla="*/ 9220715 w 9237213"/>
              <a:gd name="connsiteY1" fmla="*/ 9702 h 4273036"/>
              <a:gd name="connsiteX2" fmla="*/ 9220715 w 9237213"/>
              <a:gd name="connsiteY2" fmla="*/ 89 h 4273036"/>
              <a:gd name="connsiteX3" fmla="*/ 9237213 w 9237213"/>
              <a:gd name="connsiteY3" fmla="*/ 3974881 h 4273036"/>
              <a:gd name="connsiteX4" fmla="*/ 1421785 w 9237213"/>
              <a:gd name="connsiteY4" fmla="*/ 3975946 h 4273036"/>
              <a:gd name="connsiteX5" fmla="*/ 1339452 w 9237213"/>
              <a:gd name="connsiteY5" fmla="*/ 4009885 h 4273036"/>
              <a:gd name="connsiteX6" fmla="*/ 1332332 w 9237213"/>
              <a:gd name="connsiteY6" fmla="*/ 4220084 h 4273036"/>
              <a:gd name="connsiteX7" fmla="*/ 1243838 w 9237213"/>
              <a:gd name="connsiteY7" fmla="*/ 4268653 h 4273036"/>
              <a:gd name="connsiteX8" fmla="*/ 0 w 9237213"/>
              <a:gd name="connsiteY8" fmla="*/ 4273036 h 4273036"/>
              <a:gd name="connsiteX9" fmla="*/ 76715 w 9237213"/>
              <a:gd name="connsiteY9" fmla="*/ 718270 h 4273036"/>
              <a:gd name="connsiteX10" fmla="*/ 70102 w 9237213"/>
              <a:gd name="connsiteY10" fmla="*/ 0 h 4273036"/>
              <a:gd name="connsiteX0" fmla="*/ 53607 w 9220718"/>
              <a:gd name="connsiteY0" fmla="*/ 0 h 4268653"/>
              <a:gd name="connsiteX1" fmla="*/ 9204220 w 9220718"/>
              <a:gd name="connsiteY1" fmla="*/ 9702 h 4268653"/>
              <a:gd name="connsiteX2" fmla="*/ 9204220 w 9220718"/>
              <a:gd name="connsiteY2" fmla="*/ 89 h 4268653"/>
              <a:gd name="connsiteX3" fmla="*/ 9220718 w 9220718"/>
              <a:gd name="connsiteY3" fmla="*/ 3974881 h 4268653"/>
              <a:gd name="connsiteX4" fmla="*/ 1405290 w 9220718"/>
              <a:gd name="connsiteY4" fmla="*/ 3975946 h 4268653"/>
              <a:gd name="connsiteX5" fmla="*/ 1322957 w 9220718"/>
              <a:gd name="connsiteY5" fmla="*/ 4009885 h 4268653"/>
              <a:gd name="connsiteX6" fmla="*/ 1315837 w 9220718"/>
              <a:gd name="connsiteY6" fmla="*/ 4220084 h 4268653"/>
              <a:gd name="connsiteX7" fmla="*/ 1227343 w 9220718"/>
              <a:gd name="connsiteY7" fmla="*/ 4268653 h 4268653"/>
              <a:gd name="connsiteX8" fmla="*/ 0 w 9220718"/>
              <a:gd name="connsiteY8" fmla="*/ 4265542 h 4268653"/>
              <a:gd name="connsiteX9" fmla="*/ 60220 w 9220718"/>
              <a:gd name="connsiteY9" fmla="*/ 718270 h 4268653"/>
              <a:gd name="connsiteX10" fmla="*/ 53607 w 9220718"/>
              <a:gd name="connsiteY10" fmla="*/ 0 h 4268653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27343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06724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17785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1084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8 w 9220718"/>
              <a:gd name="connsiteY0" fmla="*/ 0 h 4271068"/>
              <a:gd name="connsiteX1" fmla="*/ 9204220 w 9220718"/>
              <a:gd name="connsiteY1" fmla="*/ 9701 h 4271068"/>
              <a:gd name="connsiteX2" fmla="*/ 9204220 w 9220718"/>
              <a:gd name="connsiteY2" fmla="*/ 88 h 4271068"/>
              <a:gd name="connsiteX3" fmla="*/ 9220718 w 9220718"/>
              <a:gd name="connsiteY3" fmla="*/ 3974880 h 4271068"/>
              <a:gd name="connsiteX4" fmla="*/ 1405290 w 9220718"/>
              <a:gd name="connsiteY4" fmla="*/ 3975945 h 4271068"/>
              <a:gd name="connsiteX5" fmla="*/ 1322957 w 9220718"/>
              <a:gd name="connsiteY5" fmla="*/ 4009884 h 4271068"/>
              <a:gd name="connsiteX6" fmla="*/ 1315837 w 9220718"/>
              <a:gd name="connsiteY6" fmla="*/ 4220083 h 4271068"/>
              <a:gd name="connsiteX7" fmla="*/ 1210847 w 9220718"/>
              <a:gd name="connsiteY7" fmla="*/ 4268652 h 4271068"/>
              <a:gd name="connsiteX8" fmla="*/ 0 w 9220718"/>
              <a:gd name="connsiteY8" fmla="*/ 4265541 h 4271068"/>
              <a:gd name="connsiteX9" fmla="*/ 60220 w 9220718"/>
              <a:gd name="connsiteY9" fmla="*/ 718269 h 4271068"/>
              <a:gd name="connsiteX10" fmla="*/ 53608 w 9220718"/>
              <a:gd name="connsiteY10" fmla="*/ 0 h 4271068"/>
              <a:gd name="connsiteX0" fmla="*/ 92467 w 9259577"/>
              <a:gd name="connsiteY0" fmla="*/ 0 h 4271068"/>
              <a:gd name="connsiteX1" fmla="*/ 9243079 w 9259577"/>
              <a:gd name="connsiteY1" fmla="*/ 9701 h 4271068"/>
              <a:gd name="connsiteX2" fmla="*/ 9243079 w 9259577"/>
              <a:gd name="connsiteY2" fmla="*/ 88 h 4271068"/>
              <a:gd name="connsiteX3" fmla="*/ 9259577 w 9259577"/>
              <a:gd name="connsiteY3" fmla="*/ 3974880 h 4271068"/>
              <a:gd name="connsiteX4" fmla="*/ 1444149 w 9259577"/>
              <a:gd name="connsiteY4" fmla="*/ 3975945 h 4271068"/>
              <a:gd name="connsiteX5" fmla="*/ 1361816 w 9259577"/>
              <a:gd name="connsiteY5" fmla="*/ 4009884 h 4271068"/>
              <a:gd name="connsiteX6" fmla="*/ 1354696 w 9259577"/>
              <a:gd name="connsiteY6" fmla="*/ 4220083 h 4271068"/>
              <a:gd name="connsiteX7" fmla="*/ 1249706 w 9259577"/>
              <a:gd name="connsiteY7" fmla="*/ 4268652 h 4271068"/>
              <a:gd name="connsiteX8" fmla="*/ 38859 w 9259577"/>
              <a:gd name="connsiteY8" fmla="*/ 4265541 h 4271068"/>
              <a:gd name="connsiteX9" fmla="*/ 4233 w 9259577"/>
              <a:gd name="connsiteY9" fmla="*/ 718269 h 4271068"/>
              <a:gd name="connsiteX10" fmla="*/ 92467 w 9259577"/>
              <a:gd name="connsiteY10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246481 w 9413591"/>
              <a:gd name="connsiteY0" fmla="*/ 0 h 4271068"/>
              <a:gd name="connsiteX1" fmla="*/ 9397093 w 9413591"/>
              <a:gd name="connsiteY1" fmla="*/ 9701 h 4271068"/>
              <a:gd name="connsiteX2" fmla="*/ 9397093 w 9413591"/>
              <a:gd name="connsiteY2" fmla="*/ 88 h 4271068"/>
              <a:gd name="connsiteX3" fmla="*/ 9413591 w 9413591"/>
              <a:gd name="connsiteY3" fmla="*/ 3974880 h 4271068"/>
              <a:gd name="connsiteX4" fmla="*/ 1598163 w 9413591"/>
              <a:gd name="connsiteY4" fmla="*/ 3975945 h 4271068"/>
              <a:gd name="connsiteX5" fmla="*/ 1515830 w 9413591"/>
              <a:gd name="connsiteY5" fmla="*/ 4009884 h 4271068"/>
              <a:gd name="connsiteX6" fmla="*/ 1508710 w 9413591"/>
              <a:gd name="connsiteY6" fmla="*/ 4220083 h 4271068"/>
              <a:gd name="connsiteX7" fmla="*/ 1403720 w 9413591"/>
              <a:gd name="connsiteY7" fmla="*/ 4268652 h 4271068"/>
              <a:gd name="connsiteX8" fmla="*/ 192873 w 9413591"/>
              <a:gd name="connsiteY8" fmla="*/ 4265541 h 4271068"/>
              <a:gd name="connsiteX9" fmla="*/ 246481 w 9413591"/>
              <a:gd name="connsiteY9" fmla="*/ 0 h 4271068"/>
              <a:gd name="connsiteX0" fmla="*/ 64211 w 9231321"/>
              <a:gd name="connsiteY0" fmla="*/ 0 h 4271068"/>
              <a:gd name="connsiteX1" fmla="*/ 9214823 w 9231321"/>
              <a:gd name="connsiteY1" fmla="*/ 9701 h 4271068"/>
              <a:gd name="connsiteX2" fmla="*/ 9214823 w 9231321"/>
              <a:gd name="connsiteY2" fmla="*/ 88 h 4271068"/>
              <a:gd name="connsiteX3" fmla="*/ 9231321 w 9231321"/>
              <a:gd name="connsiteY3" fmla="*/ 3974880 h 4271068"/>
              <a:gd name="connsiteX4" fmla="*/ 1415893 w 9231321"/>
              <a:gd name="connsiteY4" fmla="*/ 3975945 h 4271068"/>
              <a:gd name="connsiteX5" fmla="*/ 1333560 w 9231321"/>
              <a:gd name="connsiteY5" fmla="*/ 4009884 h 4271068"/>
              <a:gd name="connsiteX6" fmla="*/ 1326440 w 9231321"/>
              <a:gd name="connsiteY6" fmla="*/ 4220083 h 4271068"/>
              <a:gd name="connsiteX7" fmla="*/ 1221450 w 9231321"/>
              <a:gd name="connsiteY7" fmla="*/ 4268652 h 4271068"/>
              <a:gd name="connsiteX8" fmla="*/ 10603 w 9231321"/>
              <a:gd name="connsiteY8" fmla="*/ 4265541 h 4271068"/>
              <a:gd name="connsiteX9" fmla="*/ 64211 w 9231321"/>
              <a:gd name="connsiteY9" fmla="*/ 0 h 4271068"/>
              <a:gd name="connsiteX0" fmla="*/ 10604 w 9177714"/>
              <a:gd name="connsiteY0" fmla="*/ 0 h 4276228"/>
              <a:gd name="connsiteX1" fmla="*/ 9161216 w 9177714"/>
              <a:gd name="connsiteY1" fmla="*/ 9701 h 4276228"/>
              <a:gd name="connsiteX2" fmla="*/ 9161216 w 9177714"/>
              <a:gd name="connsiteY2" fmla="*/ 88 h 4276228"/>
              <a:gd name="connsiteX3" fmla="*/ 9177714 w 9177714"/>
              <a:gd name="connsiteY3" fmla="*/ 3974880 h 4276228"/>
              <a:gd name="connsiteX4" fmla="*/ 1362286 w 9177714"/>
              <a:gd name="connsiteY4" fmla="*/ 3975945 h 4276228"/>
              <a:gd name="connsiteX5" fmla="*/ 1279953 w 9177714"/>
              <a:gd name="connsiteY5" fmla="*/ 4009884 h 4276228"/>
              <a:gd name="connsiteX6" fmla="*/ 1272833 w 9177714"/>
              <a:gd name="connsiteY6" fmla="*/ 4220083 h 4276228"/>
              <a:gd name="connsiteX7" fmla="*/ 1167843 w 9177714"/>
              <a:gd name="connsiteY7" fmla="*/ 4268652 h 4276228"/>
              <a:gd name="connsiteX8" fmla="*/ 10603 w 9177714"/>
              <a:gd name="connsiteY8" fmla="*/ 4265541 h 4276228"/>
              <a:gd name="connsiteX9" fmla="*/ 10604 w 9177714"/>
              <a:gd name="connsiteY9" fmla="*/ 0 h 4276228"/>
              <a:gd name="connsiteX0" fmla="*/ 10604 w 9177714"/>
              <a:gd name="connsiteY0" fmla="*/ 0 h 4268609"/>
              <a:gd name="connsiteX1" fmla="*/ 9161216 w 9177714"/>
              <a:gd name="connsiteY1" fmla="*/ 9701 h 4268609"/>
              <a:gd name="connsiteX2" fmla="*/ 9161216 w 9177714"/>
              <a:gd name="connsiteY2" fmla="*/ 88 h 4268609"/>
              <a:gd name="connsiteX3" fmla="*/ 9177714 w 9177714"/>
              <a:gd name="connsiteY3" fmla="*/ 3974880 h 4268609"/>
              <a:gd name="connsiteX4" fmla="*/ 1362286 w 9177714"/>
              <a:gd name="connsiteY4" fmla="*/ 3975945 h 4268609"/>
              <a:gd name="connsiteX5" fmla="*/ 1279953 w 9177714"/>
              <a:gd name="connsiteY5" fmla="*/ 4009884 h 4268609"/>
              <a:gd name="connsiteX6" fmla="*/ 1272833 w 9177714"/>
              <a:gd name="connsiteY6" fmla="*/ 4220083 h 4268609"/>
              <a:gd name="connsiteX7" fmla="*/ 1206981 w 9177714"/>
              <a:gd name="connsiteY7" fmla="*/ 4261033 h 4268609"/>
              <a:gd name="connsiteX8" fmla="*/ 10603 w 9177714"/>
              <a:gd name="connsiteY8" fmla="*/ 4265541 h 4268609"/>
              <a:gd name="connsiteX9" fmla="*/ 10604 w 9177714"/>
              <a:gd name="connsiteY9" fmla="*/ 0 h 4268609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184616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8698"/>
              <a:gd name="connsiteX1" fmla="*/ 9161216 w 9177714"/>
              <a:gd name="connsiteY1" fmla="*/ 9701 h 4268698"/>
              <a:gd name="connsiteX2" fmla="*/ 9161216 w 9177714"/>
              <a:gd name="connsiteY2" fmla="*/ 88 h 4268698"/>
              <a:gd name="connsiteX3" fmla="*/ 9177714 w 9177714"/>
              <a:gd name="connsiteY3" fmla="*/ 3974880 h 4268698"/>
              <a:gd name="connsiteX4" fmla="*/ 1362286 w 9177714"/>
              <a:gd name="connsiteY4" fmla="*/ 3975945 h 4268698"/>
              <a:gd name="connsiteX5" fmla="*/ 1279953 w 9177714"/>
              <a:gd name="connsiteY5" fmla="*/ 4009884 h 4268698"/>
              <a:gd name="connsiteX6" fmla="*/ 1272833 w 9177714"/>
              <a:gd name="connsiteY6" fmla="*/ 4197223 h 4268698"/>
              <a:gd name="connsiteX7" fmla="*/ 1173434 w 9177714"/>
              <a:gd name="connsiteY7" fmla="*/ 4266113 h 4268698"/>
              <a:gd name="connsiteX8" fmla="*/ 10603 w 9177714"/>
              <a:gd name="connsiteY8" fmla="*/ 4265541 h 4268698"/>
              <a:gd name="connsiteX9" fmla="*/ 10604 w 9177714"/>
              <a:gd name="connsiteY9" fmla="*/ 0 h 42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77714" h="4268698">
                <a:moveTo>
                  <a:pt x="10604" y="0"/>
                </a:moveTo>
                <a:lnTo>
                  <a:pt x="9161216" y="9701"/>
                </a:lnTo>
                <a:lnTo>
                  <a:pt x="9161216" y="88"/>
                </a:lnTo>
                <a:cubicBezTo>
                  <a:pt x="9162804" y="1317689"/>
                  <a:pt x="9176126" y="2657279"/>
                  <a:pt x="9177714" y="3974880"/>
                </a:cubicBezTo>
                <a:lnTo>
                  <a:pt x="1362286" y="3975945"/>
                </a:lnTo>
                <a:cubicBezTo>
                  <a:pt x="1324129" y="3980616"/>
                  <a:pt x="1294862" y="3973004"/>
                  <a:pt x="1279953" y="4009884"/>
                </a:cubicBezTo>
                <a:cubicBezTo>
                  <a:pt x="1265044" y="4046764"/>
                  <a:pt x="1276941" y="4145761"/>
                  <a:pt x="1272833" y="4197223"/>
                </a:cubicBezTo>
                <a:cubicBezTo>
                  <a:pt x="1272365" y="4244226"/>
                  <a:pt x="1221664" y="4268698"/>
                  <a:pt x="1173434" y="4266113"/>
                </a:cubicBezTo>
                <a:lnTo>
                  <a:pt x="10603" y="4265541"/>
                </a:lnTo>
                <a:cubicBezTo>
                  <a:pt x="0" y="3520977"/>
                  <a:pt x="7635" y="788799"/>
                  <a:pt x="10604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 hasCustomPrompt="1"/>
          </p:nvPr>
        </p:nvSpPr>
        <p:spPr>
          <a:xfrm>
            <a:off x="1619250" y="404870"/>
            <a:ext cx="6935788" cy="668338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 err="1" smtClean="0"/>
              <a:t>Chapter</a:t>
            </a:r>
            <a:r>
              <a:rPr lang="sv-SE" dirty="0" smtClean="0"/>
              <a:t> </a:t>
            </a:r>
            <a:r>
              <a:rPr lang="sv-SE" dirty="0" err="1" smtClean="0"/>
              <a:t>heading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6-02-23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31448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1619250" y="1582738"/>
            <a:ext cx="6935788" cy="407828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6-02-23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39240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6-02-23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46274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 smtClean="0"/>
              <a:t>Klicka här för att ändra format</a:t>
            </a:r>
            <a:endParaRPr lang="en-GB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1619250" y="1582739"/>
            <a:ext cx="6935788" cy="40782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 smtClean="0"/>
              <a:t>Klicka här för att ändra format på bakgrundstexten</a:t>
            </a:r>
          </a:p>
          <a:p>
            <a:pPr lvl="1"/>
            <a:r>
              <a:rPr lang="sv-SE" dirty="0" smtClean="0"/>
              <a:t>Nivå två</a:t>
            </a:r>
          </a:p>
          <a:p>
            <a:pPr lvl="2"/>
            <a:r>
              <a:rPr lang="sv-SE" dirty="0" smtClean="0"/>
              <a:t>Nivå tre</a:t>
            </a:r>
          </a:p>
          <a:p>
            <a:pPr lvl="3"/>
            <a:r>
              <a:rPr lang="sv-SE" dirty="0" smtClean="0"/>
              <a:t>Nivå fyra</a:t>
            </a:r>
          </a:p>
          <a:p>
            <a:pPr lvl="4"/>
            <a:r>
              <a:rPr lang="sv-SE" dirty="0" smtClean="0"/>
              <a:t>Nivå fem</a:t>
            </a:r>
            <a:endParaRPr lang="en-GB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1619250" y="6308725"/>
            <a:ext cx="2895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172399" y="6308725"/>
            <a:ext cx="531863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fld id="{680D72F4-1C41-4187-A4BC-492CF086CF40}" type="slidenum">
              <a:rPr lang="en-GB" smtClean="0"/>
              <a:pPr>
                <a:lnSpc>
                  <a:spcPts val="900"/>
                </a:lnSpc>
              </a:pPr>
              <a:t>‹#›</a:t>
            </a:fld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5580112" y="6288509"/>
            <a:ext cx="2133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 algn="r">
              <a:lnSpc>
                <a:spcPts val="900"/>
              </a:lnSpc>
            </a:pPr>
            <a:fld id="{CFCB38AA-14D0-4B67-BE5B-608C5A8A7489}" type="datetimeFigureOut">
              <a:rPr lang="en-GB" smtClean="0"/>
              <a:pPr algn="r">
                <a:lnSpc>
                  <a:spcPts val="900"/>
                </a:lnSpc>
              </a:pPr>
              <a:t>23/02/2016</a:t>
            </a:fld>
            <a:endParaRPr lang="en-GB" dirty="0"/>
          </a:p>
        </p:txBody>
      </p:sp>
      <p:sp>
        <p:nvSpPr>
          <p:cNvPr id="9" name="Rektangel 12"/>
          <p:cNvSpPr/>
          <p:nvPr/>
        </p:nvSpPr>
        <p:spPr>
          <a:xfrm>
            <a:off x="0" y="5971378"/>
            <a:ext cx="9144000" cy="908720"/>
          </a:xfrm>
          <a:custGeom>
            <a:avLst/>
            <a:gdLst>
              <a:gd name="connsiteX0" fmla="*/ 1360291 w 9144000"/>
              <a:gd name="connsiteY0" fmla="*/ 0 h 908720"/>
              <a:gd name="connsiteX1" fmla="*/ 9144000 w 9144000"/>
              <a:gd name="connsiteY1" fmla="*/ 0 h 908720"/>
              <a:gd name="connsiteX2" fmla="*/ 9144000 w 9144000"/>
              <a:gd name="connsiteY2" fmla="*/ 262632 h 908720"/>
              <a:gd name="connsiteX3" fmla="*/ 9144000 w 9144000"/>
              <a:gd name="connsiteY3" fmla="*/ 328588 h 908720"/>
              <a:gd name="connsiteX4" fmla="*/ 9144000 w 9144000"/>
              <a:gd name="connsiteY4" fmla="*/ 808061 h 908720"/>
              <a:gd name="connsiteX5" fmla="*/ 9144000 w 9144000"/>
              <a:gd name="connsiteY5" fmla="*/ 883320 h 908720"/>
              <a:gd name="connsiteX6" fmla="*/ 9144000 w 9144000"/>
              <a:gd name="connsiteY6" fmla="*/ 904652 h 908720"/>
              <a:gd name="connsiteX7" fmla="*/ 9065179 w 9144000"/>
              <a:gd name="connsiteY7" fmla="*/ 904652 h 908720"/>
              <a:gd name="connsiteX8" fmla="*/ 9043341 w 9144000"/>
              <a:gd name="connsiteY8" fmla="*/ 908720 h 908720"/>
              <a:gd name="connsiteX9" fmla="*/ 1259632 w 9144000"/>
              <a:gd name="connsiteY9" fmla="*/ 908720 h 908720"/>
              <a:gd name="connsiteX10" fmla="*/ 1259632 w 9144000"/>
              <a:gd name="connsiteY10" fmla="*/ 904652 h 908720"/>
              <a:gd name="connsiteX11" fmla="*/ 0 w 9144000"/>
              <a:gd name="connsiteY11" fmla="*/ 904652 h 908720"/>
              <a:gd name="connsiteX12" fmla="*/ 0 w 9144000"/>
              <a:gd name="connsiteY12" fmla="*/ 883320 h 908720"/>
              <a:gd name="connsiteX13" fmla="*/ 0 w 9144000"/>
              <a:gd name="connsiteY13" fmla="*/ 328588 h 908720"/>
              <a:gd name="connsiteX14" fmla="*/ 0 w 9144000"/>
              <a:gd name="connsiteY14" fmla="*/ 314003 h 908720"/>
              <a:gd name="connsiteX15" fmla="*/ 901401 w 9144000"/>
              <a:gd name="connsiteY15" fmla="*/ 314003 h 908720"/>
              <a:gd name="connsiteX16" fmla="*/ 1026319 w 9144000"/>
              <a:gd name="connsiteY16" fmla="*/ 314003 h 908720"/>
              <a:gd name="connsiteX17" fmla="*/ 1194387 w 9144000"/>
              <a:gd name="connsiteY17" fmla="*/ 314003 h 908720"/>
              <a:gd name="connsiteX18" fmla="*/ 1258275 w 9144000"/>
              <a:gd name="connsiteY18" fmla="*/ 262632 h 908720"/>
              <a:gd name="connsiteX19" fmla="*/ 1259632 w 9144000"/>
              <a:gd name="connsiteY19" fmla="*/ 262632 h 908720"/>
              <a:gd name="connsiteX20" fmla="*/ 1259632 w 9144000"/>
              <a:gd name="connsiteY20" fmla="*/ 255909 h 908720"/>
              <a:gd name="connsiteX21" fmla="*/ 1261441 w 9144000"/>
              <a:gd name="connsiteY21" fmla="*/ 246949 h 908720"/>
              <a:gd name="connsiteX22" fmla="*/ 1261441 w 9144000"/>
              <a:gd name="connsiteY22" fmla="*/ 91699 h 908720"/>
              <a:gd name="connsiteX23" fmla="*/ 1360291 w 9144000"/>
              <a:gd name="connsiteY23" fmla="*/ 0 h 90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9144000" h="908720">
                <a:moveTo>
                  <a:pt x="1360291" y="0"/>
                </a:moveTo>
                <a:lnTo>
                  <a:pt x="9144000" y="0"/>
                </a:lnTo>
                <a:lnTo>
                  <a:pt x="9144000" y="262632"/>
                </a:lnTo>
                <a:lnTo>
                  <a:pt x="9144000" y="328588"/>
                </a:lnTo>
                <a:lnTo>
                  <a:pt x="9144000" y="808061"/>
                </a:lnTo>
                <a:lnTo>
                  <a:pt x="9144000" y="883320"/>
                </a:lnTo>
                <a:lnTo>
                  <a:pt x="9144000" y="904652"/>
                </a:lnTo>
                <a:lnTo>
                  <a:pt x="9065179" y="904652"/>
                </a:lnTo>
                <a:cubicBezTo>
                  <a:pt x="9058414" y="907870"/>
                  <a:pt x="9050977" y="908720"/>
                  <a:pt x="9043341" y="908720"/>
                </a:cubicBezTo>
                <a:lnTo>
                  <a:pt x="1259632" y="908720"/>
                </a:lnTo>
                <a:lnTo>
                  <a:pt x="1259632" y="904652"/>
                </a:lnTo>
                <a:lnTo>
                  <a:pt x="0" y="904652"/>
                </a:lnTo>
                <a:lnTo>
                  <a:pt x="0" y="883320"/>
                </a:lnTo>
                <a:lnTo>
                  <a:pt x="0" y="328588"/>
                </a:lnTo>
                <a:lnTo>
                  <a:pt x="0" y="314003"/>
                </a:lnTo>
                <a:lnTo>
                  <a:pt x="901401" y="314003"/>
                </a:lnTo>
                <a:lnTo>
                  <a:pt x="1026319" y="314003"/>
                </a:lnTo>
                <a:lnTo>
                  <a:pt x="1194387" y="314003"/>
                </a:lnTo>
                <a:cubicBezTo>
                  <a:pt x="1225910" y="314003"/>
                  <a:pt x="1252353" y="292251"/>
                  <a:pt x="1258275" y="262632"/>
                </a:cubicBezTo>
                <a:lnTo>
                  <a:pt x="1259632" y="262632"/>
                </a:lnTo>
                <a:lnTo>
                  <a:pt x="1259632" y="255909"/>
                </a:lnTo>
                <a:lnTo>
                  <a:pt x="1261441" y="246949"/>
                </a:lnTo>
                <a:lnTo>
                  <a:pt x="1261441" y="91699"/>
                </a:lnTo>
                <a:cubicBezTo>
                  <a:pt x="1264629" y="40239"/>
                  <a:pt x="1260136" y="0"/>
                  <a:pt x="13602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1305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66" r:id="rId2"/>
    <p:sldLayoutId id="2147483677" r:id="rId3"/>
    <p:sldLayoutId id="2147483668" r:id="rId4"/>
    <p:sldLayoutId id="2147483669" r:id="rId5"/>
    <p:sldLayoutId id="2147483670" r:id="rId6"/>
    <p:sldLayoutId id="2147483674" r:id="rId7"/>
    <p:sldLayoutId id="2147483672" r:id="rId8"/>
    <p:sldLayoutId id="2147483673" r:id="rId9"/>
    <p:sldLayoutId id="2147483665" r:id="rId10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3556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3683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352425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35113" indent="-4572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 smtClean="0"/>
              <a:t>Project </a:t>
            </a:r>
            <a:r>
              <a:rPr lang="sv-SE" dirty="0" err="1" smtClean="0"/>
              <a:t>proposal</a:t>
            </a:r>
            <a:endParaRPr lang="sv-SE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sv-SE" dirty="0" smtClean="0"/>
              <a:t>Rui Oliveira and Lars Svensson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651496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Project: ROS interface for RCV</a:t>
            </a:r>
            <a:endParaRPr lang="sv-SE" dirty="0"/>
          </a:p>
        </p:txBody>
      </p:sp>
      <p:sp>
        <p:nvSpPr>
          <p:cNvPr id="5" name="Platshållare för innehåll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</p:txBody>
      </p:sp>
      <p:pic>
        <p:nvPicPr>
          <p:cNvPr id="2051" name="Picture 3" descr="C:\WORK\Learning\RoboticSystemIntegrationRCV\RCV_course\Proposal\ProposalLarsRui\systemStructure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647" y="1429544"/>
            <a:ext cx="7865686" cy="4358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696150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Objectives</a:t>
            </a:r>
            <a:endParaRPr lang="sv-SE" dirty="0"/>
          </a:p>
        </p:txBody>
      </p:sp>
      <p:sp>
        <p:nvSpPr>
          <p:cNvPr id="5" name="Platshållare för innehåll 4"/>
          <p:cNvSpPr>
            <a:spLocks noGrp="1"/>
          </p:cNvSpPr>
          <p:nvPr>
            <p:ph idx="1"/>
          </p:nvPr>
        </p:nvSpPr>
        <p:spPr>
          <a:xfrm>
            <a:off x="1619250" y="1498069"/>
            <a:ext cx="6935788" cy="4343928"/>
          </a:xfrm>
        </p:spPr>
        <p:txBody>
          <a:bodyPr>
            <a:normAutofit fontScale="92500" lnSpcReduction="10000"/>
          </a:bodyPr>
          <a:lstStyle/>
          <a:p>
            <a:r>
              <a:rPr lang="sv-SE" dirty="0" smtClean="0"/>
              <a:t>Mandatory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Path</a:t>
            </a:r>
            <a:r>
              <a:rPr lang="sv-SE" dirty="0" smtClean="0"/>
              <a:t> </a:t>
            </a:r>
            <a:r>
              <a:rPr lang="sv-SE" dirty="0" err="1" smtClean="0"/>
              <a:t>following</a:t>
            </a:r>
            <a:r>
              <a:rPr lang="sv-SE" dirty="0" smtClean="0"/>
              <a:t> controller (short term plan in ego </a:t>
            </a:r>
            <a:r>
              <a:rPr lang="sv-SE" dirty="0" err="1" smtClean="0"/>
              <a:t>vehicle</a:t>
            </a:r>
            <a:r>
              <a:rPr lang="sv-SE" dirty="0" smtClean="0"/>
              <a:t> </a:t>
            </a:r>
            <a:r>
              <a:rPr lang="sv-SE" dirty="0" err="1" smtClean="0"/>
              <a:t>coordinate</a:t>
            </a:r>
            <a:r>
              <a:rPr lang="sv-SE" dirty="0" smtClean="0"/>
              <a:t> system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Low</a:t>
            </a:r>
            <a:r>
              <a:rPr lang="sv-SE" dirty="0" smtClean="0"/>
              <a:t> </a:t>
            </a:r>
            <a:r>
              <a:rPr lang="sv-SE" dirty="0" err="1" smtClean="0"/>
              <a:t>level</a:t>
            </a:r>
            <a:r>
              <a:rPr lang="sv-SE" dirty="0" smtClean="0"/>
              <a:t> sensor </a:t>
            </a:r>
            <a:r>
              <a:rPr lang="sv-SE" dirty="0" err="1" smtClean="0"/>
              <a:t>readings</a:t>
            </a:r>
            <a:r>
              <a:rPr lang="sv-SE" dirty="0" smtClean="0"/>
              <a:t> interface (</a:t>
            </a:r>
            <a:r>
              <a:rPr lang="sv-SE" dirty="0" err="1" smtClean="0"/>
              <a:t>wheel</a:t>
            </a:r>
            <a:r>
              <a:rPr lang="sv-SE" dirty="0" smtClean="0"/>
              <a:t> </a:t>
            </a:r>
            <a:r>
              <a:rPr lang="sv-SE" dirty="0" err="1" smtClean="0"/>
              <a:t>encoders</a:t>
            </a:r>
            <a:r>
              <a:rPr lang="sv-SE" dirty="0" smtClean="0"/>
              <a:t> etc.)</a:t>
            </a:r>
            <a:endParaRPr lang="sv-SE" dirty="0" smtClean="0"/>
          </a:p>
          <a:p>
            <a:r>
              <a:rPr lang="sv-SE" dirty="0" err="1" smtClean="0"/>
              <a:t>Optional</a:t>
            </a:r>
            <a:r>
              <a:rPr lang="sv-SE" dirty="0" smtClean="0"/>
              <a:t>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IMU interfac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GPS </a:t>
            </a:r>
            <a:r>
              <a:rPr lang="sv-SE" dirty="0" err="1" smtClean="0"/>
              <a:t>readings</a:t>
            </a:r>
            <a:r>
              <a:rPr lang="sv-SE" dirty="0" smtClean="0"/>
              <a:t> interface (</a:t>
            </a:r>
            <a:r>
              <a:rPr lang="sv-SE" dirty="0" err="1" smtClean="0"/>
              <a:t>longer</a:t>
            </a:r>
            <a:r>
              <a:rPr lang="sv-SE" dirty="0" smtClean="0"/>
              <a:t> term plan in global </a:t>
            </a:r>
            <a:r>
              <a:rPr lang="sv-SE" dirty="0" err="1" smtClean="0"/>
              <a:t>coordinate</a:t>
            </a:r>
            <a:r>
              <a:rPr lang="sv-SE" dirty="0" smtClean="0"/>
              <a:t> system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Lane </a:t>
            </a:r>
            <a:r>
              <a:rPr lang="sv-SE" dirty="0" err="1" smtClean="0"/>
              <a:t>marking</a:t>
            </a:r>
            <a:r>
              <a:rPr lang="sv-SE" dirty="0" smtClean="0"/>
              <a:t> </a:t>
            </a:r>
            <a:r>
              <a:rPr lang="sv-SE" dirty="0" err="1" smtClean="0"/>
              <a:t>camera</a:t>
            </a:r>
            <a:r>
              <a:rPr lang="sv-SE" dirty="0" smtClean="0"/>
              <a:t> interfac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Lane </a:t>
            </a:r>
            <a:r>
              <a:rPr lang="sv-SE" dirty="0" err="1" smtClean="0"/>
              <a:t>keeping</a:t>
            </a:r>
            <a:r>
              <a:rPr lang="sv-SE" dirty="0" smtClean="0"/>
              <a:t> controll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Radar </a:t>
            </a:r>
            <a:r>
              <a:rPr lang="sv-SE" dirty="0"/>
              <a:t>interface</a:t>
            </a: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Radar </a:t>
            </a:r>
            <a:r>
              <a:rPr lang="sv-SE" dirty="0" err="1" smtClean="0"/>
              <a:t>safety</a:t>
            </a:r>
            <a:r>
              <a:rPr lang="sv-SE" dirty="0" smtClean="0"/>
              <a:t> </a:t>
            </a:r>
            <a:r>
              <a:rPr lang="sv-SE" dirty="0" err="1" smtClean="0"/>
              <a:t>checking</a:t>
            </a: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Odometry</a:t>
            </a: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Platform</a:t>
            </a:r>
            <a:r>
              <a:rPr lang="sv-SE" dirty="0" smtClean="0"/>
              <a:t> </a:t>
            </a:r>
            <a:r>
              <a:rPr lang="sv-SE" dirty="0" err="1" smtClean="0"/>
              <a:t>health</a:t>
            </a: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7668650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" val="fcb025ba9a6ccf8fed139b5222f2a63b17a479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THpresTemplate">
  <a:themeElements>
    <a:clrScheme name="Anpassat 9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54A6"/>
      </a:accent1>
      <a:accent2>
        <a:srgbClr val="5893E5"/>
      </a:accent2>
      <a:accent3>
        <a:srgbClr val="62922E"/>
      </a:accent3>
      <a:accent4>
        <a:srgbClr val="A1D16D"/>
      </a:accent4>
      <a:accent5>
        <a:srgbClr val="9D102D"/>
      </a:accent5>
      <a:accent6>
        <a:srgbClr val="EC4769"/>
      </a:accent6>
      <a:hlink>
        <a:srgbClr val="C2C2C4"/>
      </a:hlink>
      <a:folHlink>
        <a:srgbClr val="800080"/>
      </a:folHlink>
    </a:clrScheme>
    <a:fontScheme name="Anpassat 2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KTHpresTemplate</Template>
  <TotalTime>16</TotalTime>
  <Words>70</Words>
  <Application>Microsoft Office PowerPoint</Application>
  <PresentationFormat>On-screen Show (4:3)</PresentationFormat>
  <Paragraphs>16</Paragraphs>
  <Slides>3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5" baseType="lpstr">
      <vt:lpstr>KTHpresTemplate</vt:lpstr>
      <vt:lpstr>think-cell Slide</vt:lpstr>
      <vt:lpstr>Project proposal</vt:lpstr>
      <vt:lpstr>Project: ROS interface for RCV</vt:lpstr>
      <vt:lpstr>Objectives</vt:lpstr>
    </vt:vector>
  </TitlesOfParts>
  <Company>Kungliga Tekniska Högskola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ars Svensson</dc:creator>
  <cp:lastModifiedBy>Lars Svensson</cp:lastModifiedBy>
  <cp:revision>5</cp:revision>
  <cp:lastPrinted>2013-05-27T09:10:21Z</cp:lastPrinted>
  <dcterms:created xsi:type="dcterms:W3CDTF">2016-02-23T14:58:24Z</dcterms:created>
  <dcterms:modified xsi:type="dcterms:W3CDTF">2016-02-23T15:15:02Z</dcterms:modified>
</cp:coreProperties>
</file>